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3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6c9f489fa33707f554ee3cad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A04CFD6-4E8B-450C-8652-C7A7CADD171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200"/>
              <a:t>Melhore a eficiência do seu equipament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89826"/>
            <a:ext cx="7539038" cy="288925"/>
          </a:xfrm>
        </p:spPr>
        <p:txBody>
          <a:bodyPr/>
          <a:lstStyle/>
          <a:p>
            <a:r>
              <a:rPr lang="pt-BR"/>
              <a:t>Robosmart Inlet para LINEAR / IBU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4" y="5794713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pt-BR" sz="800" dirty="0"/>
              <a:t>Valor: Eficiência, Flexibilidade</a:t>
            </a:r>
          </a:p>
          <a:p>
            <a:r>
              <a:rPr lang="pt-BR" sz="800" dirty="0"/>
              <a:t>Equipamento: </a:t>
            </a:r>
            <a:r>
              <a:rPr lang="pt-BR" sz="800" dirty="0" err="1"/>
              <a:t>Pal</a:t>
            </a:r>
            <a:r>
              <a:rPr lang="pt-BR" sz="800" dirty="0"/>
              <a:t>/</a:t>
            </a:r>
            <a:r>
              <a:rPr lang="pt-BR" sz="800" dirty="0" err="1"/>
              <a:t>Depal</a:t>
            </a:r>
            <a:r>
              <a:rPr lang="pt-BR" sz="800" dirty="0"/>
              <a:t> </a:t>
            </a:r>
          </a:p>
          <a:p>
            <a:r>
              <a:rPr lang="pt-BR" sz="800" dirty="0"/>
              <a:t>Código do catálogo: </a:t>
            </a:r>
            <a:r>
              <a:rPr lang="de-DE" sz="800" dirty="0"/>
              <a:t>EOL010</a:t>
            </a:r>
            <a:endParaRPr lang="pt-BR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204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4" y="2073869"/>
            <a:ext cx="389225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pt-BR" sz="1000" b="1"/>
              <a:t>Produtividad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Assegurar maior produtividade, precisão, eficiência e qualidade de embalagem, reforçada pela possibilidade a preensão vários pacotes no mesmo cicl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r>
              <a:rPr lang="pt-BR" sz="1000" b="1"/>
              <a:t>Flexibilidad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Ideal para trocas de formato frequentes. Possibilidade ilimitada de criação de padrões de paletizaçã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Em caso de novo padrão, basta instalar o software sem necessidade de paradas mecânicas. Rotação de pacotes sem choques. Menos ruído. Menor custo de manutenção.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fr-FR" sz="1000" dirty="0"/>
          </a:p>
          <a:p>
            <a:pPr>
              <a:buClr>
                <a:schemeClr val="accent4"/>
              </a:buClr>
            </a:pPr>
            <a:r>
              <a:rPr lang="pt-BR" sz="1000" b="1"/>
              <a:t>Qualidad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A mesa com superfície plana assegura a estabilidade dos pacotes durante a preparação das camadas, especialmente para pacotes leves.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/>
              <a:t>O </a:t>
            </a:r>
            <a:r>
              <a:rPr lang="pt-BR" sz="1000" b="1"/>
              <a:t>ROBOSMART</a:t>
            </a:r>
            <a:r>
              <a:rPr lang="pt-BR" sz="1000"/>
              <a:t> ™ Inlet é composto por uma esteira de dosagem, uma mesa com superfície plana, robôs (1, 2 ou mais) para a formação de camada e uma mesa de corrente plana para a estação impulsionadora de camada.  </a:t>
            </a:r>
          </a:p>
          <a:p>
            <a:r>
              <a:rPr lang="pt-BR" sz="1000"/>
              <a:t>Os cabeçotes de preensão realizam a preparação do padrão de camada (posicionamento e rotação).</a:t>
            </a:r>
          </a:p>
          <a:p>
            <a:endParaRPr lang="it-IT" sz="1000" dirty="0"/>
          </a:p>
          <a:p>
            <a:r>
              <a:rPr lang="pt-BR" sz="1000"/>
              <a:t>O </a:t>
            </a:r>
            <a:r>
              <a:rPr lang="pt-BR" sz="1000" b="1"/>
              <a:t>ROBOSMART</a:t>
            </a:r>
            <a:r>
              <a:rPr lang="pt-BR" sz="1000"/>
              <a:t>™ Inlet garante um movimento preciso e altamente repetível, com movimentação positiva do pacote, sem choques, mesmo quando a entrada de pacotes não é de qualidade perfeita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6855326-37BB-429E-9857-5B9ABCB1859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9815" y="3749041"/>
            <a:ext cx="2814418" cy="176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754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7</Words>
  <Application>Microsoft Office PowerPoint</Application>
  <PresentationFormat>On-screen Show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Melhore a eficiência do seu equipamen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1</cp:revision>
  <cp:lastPrinted>2017-09-01T14:01:41Z</cp:lastPrinted>
  <dcterms:created xsi:type="dcterms:W3CDTF">2017-07-10T14:51:51Z</dcterms:created>
  <dcterms:modified xsi:type="dcterms:W3CDTF">2019-06-26T11:5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3:52:44.757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